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5"/>
  </p:notesMasterIdLst>
  <p:sldIdLst>
    <p:sldId id="256" r:id="rId3"/>
    <p:sldId id="345" r:id="rId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94C0B3-3CB2-4427-8CA0-98E73DCD936A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2615B1-EA7A-4571-B39F-F58ECCA70D2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95457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43900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E5B8C01-20D3-4FC0-A39D-9BF10D59CF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D7DB8983-E81D-4BCC-A84F-4DAAFD230C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628E523-9C27-4AB7-95A6-E93D5E6F27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59A2F6-19D6-44FE-8ABB-E22B3619E053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97E07D3-D7A1-4EAA-BF05-6C83F98E4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85C1FAD-34BC-4007-A238-C0A8628004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65A24-125E-4861-8667-8D24774C930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068740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D8F0675-EC06-4BC3-9C08-BD6FDD989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08CABB8-5036-4107-BC33-6D6D6B0C23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B00E435-8788-4F61-B421-7BC6FBCE2E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59A2F6-19D6-44FE-8ABB-E22B3619E053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7F8C4D0-47D1-47FB-B0C7-732E41BD15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E6C3E94-3E03-44D9-B080-D33F91F0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65A24-125E-4861-8667-8D24774C930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860557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12BBBFCF-37BE-4AF7-A6CE-511CDCC41A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16D8D476-27E2-404B-8C73-4F379B782B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2448E40-340A-42D1-A622-ED3F46D9D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59A2F6-19D6-44FE-8ABB-E22B3619E053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C4A9E1F-F9D8-4C58-A7BB-10E163F12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54778BC-5D09-4AAD-813A-6655000135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65A24-125E-4861-8667-8D24774C930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03649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970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56909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994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47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4679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718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E096D12-CC07-4772-93AD-95C1E4CAD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10983FA-50F2-4BA0-AC75-AE4A144052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0433112-A001-46F7-A5DD-E1D67BF5F1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59A2F6-19D6-44FE-8ABB-E22B3619E053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D04E71C-3256-49ED-8CB3-238CEB1750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9CF2B85-7CA7-4E38-98EB-FAFC000D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65A24-125E-4861-8667-8D24774C930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138175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D60763E-CEDD-4926-B630-BD2BA2CEE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6A50B5F-31FA-44E4-BAAD-87A7D08B0B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3E231A4-3C98-4B5C-88F7-C89CE27EFC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59A2F6-19D6-44FE-8ABB-E22B3619E053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3806D7A-50D9-478E-81B5-46A3A2317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F905B3B-3F9C-4FF1-B825-4034E6DF6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65A24-125E-4861-8667-8D24774C930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468048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291234A-CEA4-4B64-82FD-7773F10D6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891F2EB-4240-4FE2-974F-1747AFD35BF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F315282C-F375-42FA-B784-10207C5407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83EF1604-515E-4496-B5D9-4298FC3E7A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59A2F6-19D6-44FE-8ABB-E22B3619E053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97EB5A8C-6451-43E8-AB4D-D42FDAE20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FA332A4F-8060-4151-AAD3-24635E23D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65A24-125E-4861-8667-8D24774C930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89908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419CC14-DB8E-4432-B5FD-7D20C7D702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74958BC-0619-4081-B638-1B615ED293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2529CD8-CAB9-45AF-A76D-82DF1D2B2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59D019F1-1C99-43BE-8E26-20B3915A696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2EBC75FB-7570-4619-8066-7946D80E99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47224819-44DD-4752-8AA8-7F5DC325E8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59A2F6-19D6-44FE-8ABB-E22B3619E053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77B5EF9D-A741-4E40-AC1C-6018CA93FC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C4DDCC4B-17C7-44C1-A70D-A96108EFF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65A24-125E-4861-8667-8D24774C930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902589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A300EA8-04F1-49A1-B5F2-8B6CAEE3CB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62467A2-16AC-4B3B-8352-7A63D94341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59A2F6-19D6-44FE-8ABB-E22B3619E053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AF2C150-2A0F-4D16-BD0A-9192007012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4B441B7E-7172-41EA-8287-BEA3A46B4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65A24-125E-4861-8667-8D24774C930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058597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80968339-7816-461E-A73A-3D247A1841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59A2F6-19D6-44FE-8ABB-E22B3619E053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5B14FF2-0733-41B6-83BA-DED73C996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359118F-811E-439D-9935-41FBA9C8B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65A24-125E-4861-8667-8D24774C930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75023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33DD183-46E6-48B6-9821-762209247D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076D0079-FDE4-40DC-BCDC-0C656DBF55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DC143DB-8FA0-494F-8238-638D72EE39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C7179E08-EE9C-4179-9029-60E1B295E2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59A2F6-19D6-44FE-8ABB-E22B3619E053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F323656-C8FB-43F9-BC92-8D178184D5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A7C3CFC-1A91-4785-AFC9-71C2FB2D93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65A24-125E-4861-8667-8D24774C930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4939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520F017-7650-4375-BBBB-D97C6BB7D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892D68BB-3820-4EFF-9496-7AAD6A10BE4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E03BC02E-CE61-43E7-B584-29BA613569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6A6C205-AF01-421E-852F-20D8F4D0B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59A2F6-19D6-44FE-8ABB-E22B3619E053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607B098-CBEF-4132-9549-1E1A4997D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F66665C-54DB-4471-A28A-3B181806E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65A24-125E-4861-8667-8D24774C930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8913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5FFA736B-461C-4F6B-838E-3D5B85CEC8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2C8522A-EEC0-4581-8A3D-594509B4EA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E172668-E60E-4D9D-9359-912FFCA6BA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59A2F6-19D6-44FE-8ABB-E22B3619E053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A737D77-7AB0-4EE6-85E7-DEEFA1BD5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854DA23-FE25-48E9-9F3B-5F8D7D4F27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C65A24-125E-4861-8667-8D24774C930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16551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426728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141218B-7373-4467-94B8-FE7B3F7A1BC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99919E46-C73B-4293-93BD-785476839F3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65219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3" name="Rechteck 5">
            <a:extLst>
              <a:ext uri="{FF2B5EF4-FFF2-40B4-BE49-F238E27FC236}">
                <a16:creationId xmlns:a16="http://schemas.microsoft.com/office/drawing/2014/main" id="{711739F0-52C8-B35F-CAFD-1FDB7CB63807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3560238" cy="4500562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1A7449"/>
                </a:solidFill>
                <a:latin typeface="理想品牌字体 2022"/>
                <a:ea typeface="理想品牌字体 2022"/>
                <a:sym typeface="Futura"/>
              </a:rPr>
              <a:t>{subtitle}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description</a:t>
            </a: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,</a:t>
            </a:r>
            <a:r>
              <a:rPr lang="en-US" sz="1400" b="1" dirty="0" err="1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max_token</a:t>
            </a: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=20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7" name="Gleichschenkliges Dreieck 15">
            <a:extLst>
              <a:ext uri="{FF2B5EF4-FFF2-40B4-BE49-F238E27FC236}">
                <a16:creationId xmlns:a16="http://schemas.microsoft.com/office/drawing/2014/main" id="{DE7DD11C-B0E7-7E04-826E-D23AAACE307D}"/>
              </a:ext>
            </a:extLst>
          </p:cNvPr>
          <p:cNvSpPr>
            <a:spLocks/>
          </p:cNvSpPr>
          <p:nvPr/>
        </p:nvSpPr>
        <p:spPr>
          <a:xfrm rot="5400000">
            <a:off x="4214417" y="4925956"/>
            <a:ext cx="276262" cy="148363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DD774310-F6F7-2A5D-E520-2030B6875B3A}"/>
              </a:ext>
            </a:extLst>
          </p:cNvPr>
          <p:cNvSpPr txBox="1">
            <a:spLocks/>
          </p:cNvSpPr>
          <p:nvPr/>
        </p:nvSpPr>
        <p:spPr bwMode="gray">
          <a:xfrm>
            <a:off x="4733616" y="1557338"/>
            <a:ext cx="1768214" cy="800219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,max_token=20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65627462-8EDD-8EC8-229A-EC5A88ABC0E4}"/>
              </a:ext>
            </a:extLst>
          </p:cNvPr>
          <p:cNvSpPr txBox="1">
            <a:spLocks/>
          </p:cNvSpPr>
          <p:nvPr/>
        </p:nvSpPr>
        <p:spPr bwMode="gray">
          <a:xfrm>
            <a:off x="4733616" y="3181490"/>
            <a:ext cx="1768214" cy="800219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2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bullet_2_description,max_token=20}</a:t>
            </a:r>
            <a:endParaRPr lang="en-US" altLang="zh-CN" sz="1400" dirty="0">
              <a:solidFill>
                <a:srgbClr val="03522D"/>
              </a:solidFill>
            </a:endParaRP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09267099-B19E-6AF1-87F4-A9642E31D235}"/>
              </a:ext>
            </a:extLst>
          </p:cNvPr>
          <p:cNvSpPr txBox="1">
            <a:spLocks/>
          </p:cNvSpPr>
          <p:nvPr/>
        </p:nvSpPr>
        <p:spPr bwMode="gray">
          <a:xfrm>
            <a:off x="4808455" y="4805640"/>
            <a:ext cx="1768214" cy="800219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3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bullet_3_description,max_token=20}</a:t>
            </a:r>
            <a:endParaRPr lang="en-US" altLang="zh-CN" sz="1400" dirty="0">
              <a:solidFill>
                <a:srgbClr val="03522D"/>
              </a:solidFill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6C8D57EB-622E-64B9-9BFC-6208BB144F4A}"/>
              </a:ext>
            </a:extLst>
          </p:cNvPr>
          <p:cNvSpPr txBox="1">
            <a:spLocks/>
          </p:cNvSpPr>
          <p:nvPr/>
        </p:nvSpPr>
        <p:spPr>
          <a:xfrm>
            <a:off x="7034315" y="1557338"/>
            <a:ext cx="477508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D33F8B43-830B-5169-E19E-7B8B97CA9C89}"/>
              </a:ext>
            </a:extLst>
          </p:cNvPr>
          <p:cNvSpPr txBox="1">
            <a:spLocks/>
          </p:cNvSpPr>
          <p:nvPr/>
        </p:nvSpPr>
        <p:spPr>
          <a:xfrm>
            <a:off x="7034315" y="3181490"/>
            <a:ext cx="477508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2_content}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CB5C2BDC-7274-68EA-41B6-5878EEEA6761}"/>
              </a:ext>
            </a:extLst>
          </p:cNvPr>
          <p:cNvSpPr txBox="1">
            <a:spLocks/>
          </p:cNvSpPr>
          <p:nvPr/>
        </p:nvSpPr>
        <p:spPr>
          <a:xfrm>
            <a:off x="7034315" y="4805640"/>
            <a:ext cx="477508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3_content}</a:t>
            </a:r>
          </a:p>
        </p:txBody>
      </p:sp>
      <p:cxnSp>
        <p:nvCxnSpPr>
          <p:cNvPr id="23" name="Gerader Verbinder 25">
            <a:extLst>
              <a:ext uri="{FF2B5EF4-FFF2-40B4-BE49-F238E27FC236}">
                <a16:creationId xmlns:a16="http://schemas.microsoft.com/office/drawing/2014/main" id="{A6DBE05F-3577-07C4-F086-09EB57969693}"/>
              </a:ext>
            </a:extLst>
          </p:cNvPr>
          <p:cNvCxnSpPr>
            <a:cxnSpLocks/>
          </p:cNvCxnSpPr>
          <p:nvPr/>
        </p:nvCxnSpPr>
        <p:spPr>
          <a:xfrm>
            <a:off x="4733616" y="2995544"/>
            <a:ext cx="7086909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6">
            <a:extLst>
              <a:ext uri="{FF2B5EF4-FFF2-40B4-BE49-F238E27FC236}">
                <a16:creationId xmlns:a16="http://schemas.microsoft.com/office/drawing/2014/main" id="{A8A364B4-3B2D-E521-37F5-22C6F62A6FF5}"/>
              </a:ext>
            </a:extLst>
          </p:cNvPr>
          <p:cNvCxnSpPr>
            <a:cxnSpLocks/>
          </p:cNvCxnSpPr>
          <p:nvPr/>
        </p:nvCxnSpPr>
        <p:spPr>
          <a:xfrm>
            <a:off x="4733616" y="4619695"/>
            <a:ext cx="7086909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Gleichschenkliges Dreieck 15">
            <a:extLst>
              <a:ext uri="{FF2B5EF4-FFF2-40B4-BE49-F238E27FC236}">
                <a16:creationId xmlns:a16="http://schemas.microsoft.com/office/drawing/2014/main" id="{DC127F4F-64F8-1187-88B3-917A85030E86}"/>
              </a:ext>
            </a:extLst>
          </p:cNvPr>
          <p:cNvSpPr>
            <a:spLocks/>
          </p:cNvSpPr>
          <p:nvPr/>
        </p:nvSpPr>
        <p:spPr>
          <a:xfrm rot="5400000">
            <a:off x="4214417" y="1673218"/>
            <a:ext cx="276262" cy="148363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6" name="Gleichschenkliges Dreieck 15">
            <a:extLst>
              <a:ext uri="{FF2B5EF4-FFF2-40B4-BE49-F238E27FC236}">
                <a16:creationId xmlns:a16="http://schemas.microsoft.com/office/drawing/2014/main" id="{1AA82CB7-8914-06DF-C3BF-419ECAF0DC30}"/>
              </a:ext>
            </a:extLst>
          </p:cNvPr>
          <p:cNvSpPr>
            <a:spLocks/>
          </p:cNvSpPr>
          <p:nvPr/>
        </p:nvSpPr>
        <p:spPr>
          <a:xfrm rot="5400000">
            <a:off x="4214417" y="3299586"/>
            <a:ext cx="276262" cy="148363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6460FF9E-72DF-DF86-EFF9-C6482070C4C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03636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ext box, boxes, consequence, consequences, result, results</a:t>
            </a:r>
          </a:p>
        </p:txBody>
      </p:sp>
    </p:spTree>
    <p:extLst>
      <p:ext uri="{BB962C8B-B14F-4D97-AF65-F5344CB8AC3E}">
        <p14:creationId xmlns:p14="http://schemas.microsoft.com/office/powerpoint/2010/main" val="13477839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11</Words>
  <Application>Microsoft Office PowerPoint</Application>
  <PresentationFormat>宽屏</PresentationFormat>
  <Paragraphs>14</Paragraphs>
  <Slides>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13" baseType="lpstr">
      <vt:lpstr>Futura</vt:lpstr>
      <vt:lpstr>LiciumFont 2022 Bold</vt:lpstr>
      <vt:lpstr>等线</vt:lpstr>
      <vt:lpstr>等线 Light</vt:lpstr>
      <vt:lpstr>理想品牌字体 2022</vt:lpstr>
      <vt:lpstr>Arial</vt:lpstr>
      <vt:lpstr>Calibri</vt:lpstr>
      <vt:lpstr>Trebuchet MS</vt:lpstr>
      <vt:lpstr>Office 主题​​</vt:lpstr>
      <vt:lpstr>BCG Grid 16:9</vt:lpstr>
      <vt:lpstr>think-cell 幻灯片</vt:lpstr>
      <vt:lpstr>PowerPoint 演示文稿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后梦雪</dc:creator>
  <cp:lastModifiedBy>后梦雪</cp:lastModifiedBy>
  <cp:revision>1</cp:revision>
  <dcterms:created xsi:type="dcterms:W3CDTF">2025-09-08T07:09:13Z</dcterms:created>
  <dcterms:modified xsi:type="dcterms:W3CDTF">2025-09-08T07:10:58Z</dcterms:modified>
</cp:coreProperties>
</file>